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3/12/2020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3/12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December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E VANTAGENS</a:t>
              </a:r>
              <a:endParaRPr lang="pt-B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DESCRIÇÃO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Melhorar</a:t>
            </a:r>
            <a:r>
              <a:rPr lang="fr-FR" dirty="0"/>
              <a:t> o </a:t>
            </a:r>
            <a:r>
              <a:rPr lang="fr-FR" dirty="0" err="1"/>
              <a:t>desempenho</a:t>
            </a:r>
            <a:r>
              <a:rPr lang="fr-FR" dirty="0"/>
              <a:t> </a:t>
            </a:r>
            <a:r>
              <a:rPr lang="fr-FR" dirty="0" err="1"/>
              <a:t>produtivo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769" y="143510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pt-BR" dirty="0"/>
              <a:t>Braços de transferência com guia linear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6" name="Image 3">
            <a:extLst>
              <a:ext uri="{FF2B5EF4-FFF2-40B4-BE49-F238E27FC236}">
                <a16:creationId xmlns:a16="http://schemas.microsoft.com/office/drawing/2014/main" id="{79A0C2F8-8068-4C2F-A655-886E7A0F33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2681" y="3829867"/>
            <a:ext cx="1814513" cy="191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Image 4">
            <a:extLst>
              <a:ext uri="{FF2B5EF4-FFF2-40B4-BE49-F238E27FC236}">
                <a16:creationId xmlns:a16="http://schemas.microsoft.com/office/drawing/2014/main" id="{64E2262A-CB59-47AD-BA4B-8386617CA4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0219" y="3923530"/>
            <a:ext cx="1930400" cy="172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Flèche : droite 19">
            <a:extLst>
              <a:ext uri="{FF2B5EF4-FFF2-40B4-BE49-F238E27FC236}">
                <a16:creationId xmlns:a16="http://schemas.microsoft.com/office/drawing/2014/main" id="{47E6EBF9-E955-4CB4-8183-D010FD66E7FB}"/>
              </a:ext>
            </a:extLst>
          </p:cNvPr>
          <p:cNvSpPr/>
          <p:nvPr/>
        </p:nvSpPr>
        <p:spPr>
          <a:xfrm>
            <a:off x="6636469" y="4633142"/>
            <a:ext cx="276225" cy="15081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fr-FR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0DB7499-8C91-486C-830A-427CE41778FC}"/>
              </a:ext>
            </a:extLst>
          </p:cNvPr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Eficiênc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opradoras Séries 1 (SBO 4/4 - SBO 4/6 - SBO 6/6 - SBO 6/10 - SBO 10/10 - SBO 16 - SBO 24/26)</a:t>
            </a:r>
            <a:endParaRPr kumimoji="0" lang="pt-BR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91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6FD5894-F4D8-4DB8-9F9F-38E24ADA620F}"/>
              </a:ext>
            </a:extLst>
          </p:cNvPr>
          <p:cNvSpPr/>
          <p:nvPr/>
        </p:nvSpPr>
        <p:spPr>
          <a:xfrm>
            <a:off x="654769" y="2187911"/>
            <a:ext cx="3883894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100" b="1" dirty="0"/>
              <a:t>A mais recente tecnologia disponibilizada no S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100" b="1" dirty="0"/>
              <a:t>Alta precisão de posicionamento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sz="1100" dirty="0"/>
              <a:t>vibrações e curvaturas na extremidade da garra são reduzidas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sz="1100" dirty="0"/>
              <a:t>molas reposicionadas para operação dentro de sua faixa de trabalho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sz="1100" dirty="0"/>
              <a:t>nenhum risco de erros de ajust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100" b="1" dirty="0"/>
              <a:t>Fácil de manter, vida útil mais longa, mais limpo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sz="1100" dirty="0"/>
              <a:t>a lubrificação do guia deve ser realizada a cada 6 anos por uma taxa de 1200 b / h / m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sz="1100" dirty="0"/>
              <a:t>redução nos custos e tempo de manutenção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sz="1100" dirty="0"/>
              <a:t>ambiente da função de transferência tornado mais limp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100" b="1" dirty="0"/>
              <a:t>Um braço mais leve aumenta também a vida útil dos cames e rolos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sz="1100" dirty="0"/>
              <a:t>trilho guia de alumínio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sz="1100" dirty="0"/>
              <a:t>suporte otimizado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sz="1100" dirty="0"/>
              <a:t>peso total reduzido em cerca de 1,2 kg</a:t>
            </a:r>
            <a:endParaRPr lang="fr-FR" sz="11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569891-0673-40D7-9BCA-512ADC898F4F}"/>
              </a:ext>
            </a:extLst>
          </p:cNvPr>
          <p:cNvSpPr/>
          <p:nvPr/>
        </p:nvSpPr>
        <p:spPr>
          <a:xfrm>
            <a:off x="4751388" y="2198414"/>
            <a:ext cx="387292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100" b="1" dirty="0"/>
              <a:t>O braço de transferência guiado por rolo substitui o braço guiado por bucha autolubrificante S1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sz="1100" dirty="0"/>
              <a:t>inclui cabeçote de troca rápida S2, garras e gabarito de configuração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sz="1100" dirty="0"/>
              <a:t>disponível também com cabeçote de troca rápida S1.</a:t>
            </a:r>
            <a:endParaRPr lang="fr-FR" sz="1100" dirty="0"/>
          </a:p>
        </p:txBody>
      </p:sp>
    </p:spTree>
    <p:extLst>
      <p:ext uri="{BB962C8B-B14F-4D97-AF65-F5344CB8AC3E}">
        <p14:creationId xmlns:p14="http://schemas.microsoft.com/office/powerpoint/2010/main" val="3014448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676</TotalTime>
  <Words>201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Melhorar o desempenho produtiv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74</cp:revision>
  <dcterms:created xsi:type="dcterms:W3CDTF">2018-02-10T17:04:39Z</dcterms:created>
  <dcterms:modified xsi:type="dcterms:W3CDTF">2020-12-23T15:45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